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4"/>
  </p:notesMasterIdLst>
  <p:handoutMasterIdLst>
    <p:handoutMasterId r:id="rId15"/>
  </p:handoutMasterIdLst>
  <p:sldIdLst>
    <p:sldId id="656" r:id="rId3"/>
    <p:sldId id="840" r:id="rId4"/>
    <p:sldId id="893" r:id="rId5"/>
    <p:sldId id="903" r:id="rId6"/>
    <p:sldId id="912" r:id="rId7"/>
    <p:sldId id="911" r:id="rId8"/>
    <p:sldId id="902" r:id="rId9"/>
    <p:sldId id="904" r:id="rId10"/>
    <p:sldId id="905" r:id="rId11"/>
    <p:sldId id="906" r:id="rId12"/>
    <p:sldId id="907" r:id="rId13"/>
  </p:sldIdLst>
  <p:sldSz cx="12192000" cy="6858000"/>
  <p:notesSz cx="6805613" cy="9944100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70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58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DAE"/>
    <a:srgbClr val="2D2B8D"/>
    <a:srgbClr val="0073B8"/>
    <a:srgbClr val="6D86C4"/>
    <a:srgbClr val="FF4747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6408" autoAdjust="0"/>
  </p:normalViewPr>
  <p:slideViewPr>
    <p:cSldViewPr snapToGrid="0">
      <p:cViewPr varScale="1">
        <p:scale>
          <a:sx n="111" d="100"/>
          <a:sy n="111" d="100"/>
        </p:scale>
        <p:origin x="516" y="114"/>
      </p:cViewPr>
      <p:guideLst>
        <p:guide pos="279"/>
        <p:guide pos="3840"/>
        <p:guide pos="7355"/>
        <p:guide orient="horz" pos="3203"/>
        <p:guide orient="horz" pos="3770"/>
        <p:guide orient="horz" pos="1525"/>
        <p:guide pos="1958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03.08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6328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4074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57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627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64284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9001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15489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63832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94098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1244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73E46-0FBB-4229-8CBB-09B80B167E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290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557EA-3183-4660-8887-18C9CD5B6E0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3669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F90D3-F678-4AA2-BC13-F0EC35626B6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9209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AC885-7A1B-43F1-B6BC-ED1A2B1ACC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123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4AC57-9A0D-4DE7-838A-D560251944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971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0E761-F77E-4A44-9560-BCDED5BAEA7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3948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EEF47A-FFA2-487B-BADC-239AA6539AA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347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47C012-AF97-4E12-B15C-9F146888FE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98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3B024-6757-4AF0-8BCF-365FC435FEB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8911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8878E5-7E8C-468C-B0D8-54E5FDFA2C0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849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6D4D7-FBB8-45CF-B201-8D5D147BA64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060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4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03.08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17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0AD9F-A03A-4659-8941-6477DDD5F1F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3.08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421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2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83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ОКТЯБРЯ 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2021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0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2" y="5543410"/>
            <a:ext cx="3673475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 smtClean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311-0693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84*108/16, 205х205, 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24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</a:t>
            </a:r>
            <a:r>
              <a:rPr lang="ru-RU" dirty="0" smtClean="0"/>
              <a:t>«Истории </a:t>
            </a:r>
            <a:r>
              <a:rPr lang="ru-RU" dirty="0"/>
              <a:t>в картинках для самых маленьких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иша и щенок Миша. Смелые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утешественники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атя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Баканова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27089" y="2594775"/>
            <a:ext cx="5960225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Весёлые </a:t>
            </a:r>
            <a:r>
              <a:rPr lang="ru-RU" sz="1200" dirty="0"/>
              <a:t>истории про котёнка Тишу и щенка Мишу вызывают яркие эмоции у малышей: удивление, смех, радость, интерес. Так и хочется обсудить со</a:t>
            </a:r>
          </a:p>
          <a:p>
            <a:r>
              <a:rPr lang="ru-RU" sz="1200" dirty="0"/>
              <a:t>взрослым каждую картинку, а потом рассказать о том, что приключилось с забавными героями самостоятельно</a:t>
            </a:r>
            <a:r>
              <a:rPr lang="ru-RU" sz="1200" dirty="0" smtClean="0"/>
              <a:t>.</a:t>
            </a:r>
          </a:p>
          <a:p>
            <a:endParaRPr lang="ru-RU" sz="1200" dirty="0"/>
          </a:p>
          <a:p>
            <a:r>
              <a:rPr lang="ru-RU" sz="1200" dirty="0"/>
              <a:t>На этот раз, плотно закусив хозяйским обедом, Тиша и Миша отправятся в путешествие. В лесу они покормят голодного совёнка, выручат зайчика из беды, а на лугу познакомятся с упрямым барашком и сердитыми пчёлами</a:t>
            </a:r>
            <a:r>
              <a:rPr lang="ru-RU" sz="1200" dirty="0" smtClean="0"/>
              <a:t>.</a:t>
            </a:r>
          </a:p>
          <a:p>
            <a:endParaRPr lang="ru-RU" sz="1200" dirty="0"/>
          </a:p>
          <a:p>
            <a:r>
              <a:rPr lang="ru-RU" sz="1200" dirty="0"/>
              <a:t>Рассказывайте вместе с малышом истории по опорным картинкам. Это не только весело, но и полезно.</a:t>
            </a:r>
          </a:p>
          <a:p>
            <a:r>
              <a:rPr lang="ru-RU" sz="1200" dirty="0"/>
              <a:t>Так вы разовьёте у ребёнка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наблюдательность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логическое </a:t>
            </a:r>
            <a:r>
              <a:rPr lang="ru-RU" sz="1200" dirty="0"/>
              <a:t>и творческое мышле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словарный </a:t>
            </a:r>
            <a:r>
              <a:rPr lang="ru-RU" sz="1200" dirty="0"/>
              <a:t>запас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связную </a:t>
            </a:r>
            <a:r>
              <a:rPr lang="ru-RU" sz="1200" dirty="0"/>
              <a:t>речь</a:t>
            </a:r>
          </a:p>
        </p:txBody>
      </p:sp>
      <p:pic>
        <p:nvPicPr>
          <p:cNvPr id="13" name="Рисунок 12" descr="C:\Users\local_EBakanova\INetCache\Content.Word\tishamisha_pyteshesveniki_cover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" y="1592263"/>
            <a:ext cx="2511827" cy="26310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2652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02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2" y="5543410"/>
            <a:ext cx="3673475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 smtClean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311-0609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60х90/8, 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«100 зачем и почему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акие бывают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рофессии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лена 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Запесочн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27089" y="2382838"/>
            <a:ext cx="596022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Уже в раннем возрасте дети проявляют интерес к труду взрослых и пытаются им подражать. Самое время познакомить ребят с миром профессий</a:t>
            </a:r>
            <a:r>
              <a:rPr lang="ru-RU" sz="1200" dirty="0" smtClean="0"/>
              <a:t>.</a:t>
            </a:r>
          </a:p>
          <a:p>
            <a:endParaRPr lang="ru-RU" sz="1200" dirty="0"/>
          </a:p>
          <a:p>
            <a:r>
              <a:rPr lang="ru-RU" sz="1200" dirty="0"/>
              <a:t>Чем занимаются учителя на каникулах? Каким должен быть хороший продавец? Почему у фермера не бывает выходных? Кто может организовать на сцене закат солнца? Об этом и многом другом узнают маленькие читатели, отправившись в далёкое путешествие вместе с любимыми героями Стёпой, Тёпой и Степанидой. </a:t>
            </a:r>
            <a:endParaRPr lang="ru-RU" sz="1200" dirty="0" smtClean="0"/>
          </a:p>
          <a:p>
            <a:endParaRPr lang="ru-RU" sz="1200" dirty="0"/>
          </a:p>
          <a:p>
            <a:r>
              <a:rPr lang="ru-RU" sz="1200" dirty="0"/>
              <a:t>А ещё дети найдут в этой удивительной книге </a:t>
            </a:r>
            <a:r>
              <a:rPr lang="ru-RU" sz="1200" dirty="0" err="1"/>
              <a:t>виммельбух</a:t>
            </a:r>
            <a:r>
              <a:rPr lang="ru-RU" sz="1200" dirty="0"/>
              <a:t>, раскраски, задания на внимание, логику, память и сообразительность, а также много тем для разговоров и творчества. </a:t>
            </a:r>
            <a:endParaRPr lang="ru-RU" sz="1200" dirty="0" smtClean="0"/>
          </a:p>
          <a:p>
            <a:endParaRPr lang="ru-RU" sz="1200" dirty="0"/>
          </a:p>
          <a:p>
            <a:r>
              <a:rPr lang="ru-RU" sz="1200" dirty="0"/>
              <a:t>Новые знания о самых разных профессиях вплетены в понятный, лёгкий и увлекательный сюжет и ярко проиллюстрированы. Именно так формируется интерес ребёнка к окружающему миру</a:t>
            </a:r>
            <a:r>
              <a:rPr lang="ru-RU" sz="1200" dirty="0" smtClean="0"/>
              <a:t>.</a:t>
            </a:r>
          </a:p>
          <a:p>
            <a:endParaRPr lang="ru-RU" sz="1200" dirty="0"/>
          </a:p>
          <a:p>
            <a:r>
              <a:rPr lang="ru-RU" sz="1200" dirty="0"/>
              <a:t>Бонус! На последнем развороте ребят ждёт маленький сюрприз: они увидят, как появилась книга про Стёпу и Степаниду.</a:t>
            </a:r>
          </a:p>
        </p:txBody>
      </p:sp>
      <p:pic>
        <p:nvPicPr>
          <p:cNvPr id="11" name="Рисунок 10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16" y="1790462"/>
            <a:ext cx="2229023" cy="27532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2686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28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19213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78260" y="1907468"/>
            <a:ext cx="4191455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 линиям УМК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419693" y="1946752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е пособия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7" name="Рисунок 6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9778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64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УМК "Живопись" для дополнительного предпрофессионального обуче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073397" y="1592263"/>
            <a:ext cx="6707166" cy="112338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Живопись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Второй год обучения. Учебное пособие для организаций дополнительного образования</a:t>
            </a:r>
            <a:r>
              <a:rPr lang="en-US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  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. В. Ловцова, С. А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орчаков</a:t>
            </a:r>
            <a:endParaRPr lang="en-US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073397" y="2623789"/>
            <a:ext cx="5960225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Учебное пособие предназначено для учащихся детских художественных школ и школ искусств. Подготовлено в соответствии с Федеральными государственными требованиями к дополнительным предпрофессиональным программам. </a:t>
            </a:r>
          </a:p>
          <a:p>
            <a:r>
              <a:rPr lang="ru-RU" sz="1200" dirty="0"/>
              <a:t>Пособие может быть также полезным для учащихся всех организаций дополнительного образования и общеобразовательных организаций с углублённым изучением предметов образовательной области «Искусство».</a:t>
            </a:r>
          </a:p>
          <a:p>
            <a:r>
              <a:rPr lang="ru-RU" sz="1200" dirty="0"/>
              <a:t>Пособие для второго года обучения (соответствует 6 классу общеобразовательной школы) </a:t>
            </a:r>
            <a:endParaRPr lang="ru-RU" sz="1200" dirty="0" smtClean="0"/>
          </a:p>
          <a:p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ознакомит </a:t>
            </a:r>
            <a:r>
              <a:rPr lang="ru-RU" sz="1200" dirty="0"/>
              <a:t>с основами </a:t>
            </a:r>
            <a:r>
              <a:rPr lang="ru-RU" sz="1200" dirty="0" err="1"/>
              <a:t>цветоведения</a:t>
            </a:r>
            <a:r>
              <a:rPr lang="ru-RU" sz="1200" dirty="0"/>
              <a:t>, научит работать цветом в разных техниках, а также анализировать произведения великих </a:t>
            </a:r>
            <a:r>
              <a:rPr lang="ru-RU" sz="1200" dirty="0" smtClean="0"/>
              <a:t>живописцев</a:t>
            </a:r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учащиеся </a:t>
            </a:r>
            <a:r>
              <a:rPr lang="ru-RU" sz="1200" dirty="0"/>
              <a:t>узнают, что такое локальный цвет, рефлексы, как лепить форму цветом и работать над этюдами фигуры человека, что такое цветовые отношения, цветовая гамма, акцент, детализация и </a:t>
            </a:r>
            <a:r>
              <a:rPr lang="ru-RU" sz="1200" dirty="0" err="1" smtClean="0"/>
              <a:t>др</a:t>
            </a:r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о </a:t>
            </a:r>
            <a:r>
              <a:rPr lang="ru-RU" sz="1200" dirty="0"/>
              <a:t>каждой теме даны обобщающие вопросы, художественно-творческие упражнения и задания с описанием и показом этапов </a:t>
            </a:r>
            <a:r>
              <a:rPr lang="ru-RU" sz="1200" dirty="0" smtClean="0"/>
              <a:t>работы</a:t>
            </a:r>
          </a:p>
          <a:p>
            <a:endParaRPr lang="ru-RU" sz="1200" dirty="0"/>
          </a:p>
          <a:p>
            <a:r>
              <a:rPr lang="ru-RU" sz="1200" dirty="0"/>
              <a:t>Книга включает богатый зрительный ряд (репродукции произведений живописи разных эпох и направлений, методические рисунки и схемы, а также учебные работы).</a:t>
            </a:r>
          </a:p>
        </p:txBody>
      </p:sp>
      <p:pic>
        <p:nvPicPr>
          <p:cNvPr id="11" name="Рисунок 10" descr="C:\Users\local_ekomarova\INetCache\Content.Word\Cover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16" y="1592263"/>
            <a:ext cx="2742784" cy="33621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442913" y="5471973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31-0372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</a:t>
            </a:r>
            <a:r>
              <a:rPr lang="ru-RU" dirty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84</a:t>
            </a:r>
            <a:r>
              <a:rPr lang="ru-RU" b="0" dirty="0" smtClean="0">
                <a:solidFill>
                  <a:prstClr val="black"/>
                </a:solidFill>
                <a:latin typeface="+mn-lt"/>
                <a:sym typeface="Wingdings 2" panose="05020102010507070707" pitchFamily="18" charset="2"/>
              </a:rPr>
              <a:t>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08 1/16, 112 </a:t>
            </a:r>
            <a:r>
              <a:rPr lang="ru-RU" b="0" dirty="0" err="1" smtClean="0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4 краски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827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3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91790" y="2054475"/>
            <a:ext cx="4191455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к сериям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4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7" name="Рисунок 6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sp>
        <p:nvSpPr>
          <p:cNvPr id="15" name="Прямоугольник 14"/>
          <p:cNvSpPr/>
          <p:nvPr/>
        </p:nvSpPr>
        <p:spPr>
          <a:xfrm>
            <a:off x="8419693" y="1946752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по диагностике и аттестации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926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1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57616" y="5379038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324-0200-01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324-0201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60</a:t>
            </a:r>
            <a:r>
              <a:rPr lang="ru-RU" b="0" dirty="0" smtClean="0">
                <a:solidFill>
                  <a:prstClr val="black"/>
                </a:solidFill>
                <a:latin typeface="+mn-lt"/>
                <a:sym typeface="Wingdings 2" panose="05020102010507070707" pitchFamily="18" charset="2"/>
              </a:rPr>
              <a:t>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90 1/8,  40-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2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</a:t>
            </a:r>
            <a:r>
              <a:rPr lang="ru-RU" dirty="0" smtClean="0"/>
              <a:t>«Проверь себя»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90794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кружающий мир. Что я знаю. Что я умею. 2 класс. 1 полугодие. Тетрадь проверочных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бот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фремова А. Г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73397" y="2877752"/>
            <a:ext cx="604903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Тетрадь предназначена для организации тематического контроля на уроках окружающего мира </a:t>
            </a:r>
            <a:r>
              <a:rPr lang="ru-RU" sz="1200" dirty="0" smtClean="0"/>
              <a:t>во </a:t>
            </a:r>
            <a:r>
              <a:rPr lang="ru-RU" sz="1200" dirty="0"/>
              <a:t>2 класса и  содержит два равнозначных варианта проверочных работ по каждой изучаемой </a:t>
            </a:r>
            <a:r>
              <a:rPr lang="ru-RU" sz="1200" dirty="0" smtClean="0"/>
              <a:t>теме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редложенные </a:t>
            </a:r>
            <a:r>
              <a:rPr lang="ru-RU" sz="1200" dirty="0"/>
              <a:t>задания позволяют определить уровень освоения учащимися программного материала и подготовить их к выполнению итоговых проверочных работ за полугодие и год. </a:t>
            </a: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В </a:t>
            </a:r>
            <a:r>
              <a:rPr lang="ru-RU" sz="1200" dirty="0"/>
              <a:t>конце тетради даны методические рекомендации для учителя по проведению и оцениванию проверочных работ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Тетрадь соответствует требованиям ФГОС НОО к уровню подготовленности учащихся 2 класса и может использоваться как в системе развивающего обучения Л.В. </a:t>
            </a:r>
            <a:r>
              <a:rPr lang="ru-RU" sz="1200" dirty="0" err="1"/>
              <a:t>Занкова</a:t>
            </a:r>
            <a:r>
              <a:rPr lang="ru-RU" sz="1200" dirty="0"/>
              <a:t> с учебником Н.Я. Дмитриевой, А.Н. Казакова «Окружающий мир. 2 класс», так и с другими УМК.</a:t>
            </a:r>
          </a:p>
        </p:txBody>
      </p:sp>
      <p:pic>
        <p:nvPicPr>
          <p:cNvPr id="431112" name="Picture 8" descr="Obl_ОМ_Tetr_2kl_01_PROSV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8297" y="2696010"/>
            <a:ext cx="1603375" cy="2136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1113" name="Picture 9" descr="Obl_ОМ_Tetr_2kl_02_PROSV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56" y="1592262"/>
            <a:ext cx="1603375" cy="21367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9553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4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91790" y="2054475"/>
            <a:ext cx="4191455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школьное образование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6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41" name="Овал 40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7" name="Рисунок 6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27" name="Группа 26"/>
          <p:cNvGrpSpPr/>
          <p:nvPr/>
        </p:nvGrpSpPr>
        <p:grpSpPr>
          <a:xfrm>
            <a:off x="7587213" y="2731672"/>
            <a:ext cx="728340" cy="728336"/>
            <a:chOff x="7559745" y="1617031"/>
            <a:chExt cx="728340" cy="728336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32" name="Рисунок 31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5" name="Прямоугольник 14"/>
          <p:cNvSpPr/>
          <p:nvPr/>
        </p:nvSpPr>
        <p:spPr>
          <a:xfrm>
            <a:off x="8419694" y="1873477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 для детей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419693" y="2988118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сты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74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2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3" y="5471973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19-0040-01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19-0041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19-0042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84</a:t>
            </a:r>
            <a:r>
              <a:rPr lang="ru-RU" b="0" dirty="0">
                <a:solidFill>
                  <a:prstClr val="black"/>
                </a:solidFill>
                <a:latin typeface="+mn-lt"/>
                <a:sym typeface="Wingdings 2" panose="05020102010507070707" pitchFamily="18" charset="2"/>
              </a:rPr>
              <a:t>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08 1/16,  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</a:t>
            </a:r>
            <a:r>
              <a:rPr lang="ru-RU" dirty="0" smtClean="0"/>
              <a:t>«</a:t>
            </a:r>
            <a:r>
              <a:rPr lang="ru-RU" dirty="0"/>
              <a:t>Тропинки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112338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пим, клеим, мастерим. Пособие для детей 3-4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т</a:t>
            </a: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пим, клеим, мастерим. Пособие для детей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4-5 лет</a:t>
            </a: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пим, клеим, мастерим. Пособие для детей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5-6 лет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алмин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Н. Г., Глебова А. О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073397" y="2943566"/>
            <a:ext cx="596022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В пособиях </a:t>
            </a:r>
            <a:r>
              <a:rPr lang="ru-RU" sz="1200" dirty="0"/>
              <a:t>представлены материалы для проведения занятий по продуктивным видам деятельности (лепке и аппликации) с детьми </a:t>
            </a:r>
            <a:r>
              <a:rPr lang="ru-RU" sz="1200" dirty="0" smtClean="0"/>
              <a:t>3-4, 4-5, 5-6 </a:t>
            </a:r>
            <a:r>
              <a:rPr lang="ru-RU" sz="1200" dirty="0"/>
              <a:t>лет в дошкольной образовательной организации. </a:t>
            </a: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Задания </a:t>
            </a:r>
            <a:r>
              <a:rPr lang="ru-RU" sz="1200" dirty="0"/>
              <a:t>предполагают выполнение работ по образцу, наглядной или словесной инструкции, творческому замыслу</a:t>
            </a:r>
            <a:r>
              <a:rPr lang="ru-RU" sz="12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В пособиях </a:t>
            </a:r>
            <a:r>
              <a:rPr lang="ru-RU" sz="1200" dirty="0"/>
              <a:t>есть шаблоны, заготовки, фактурные основы для выполнения творческих работ. Дополнительно необходимы клей, ножницы и пластилин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Пособия могут </a:t>
            </a:r>
            <a:r>
              <a:rPr lang="ru-RU" sz="1200" dirty="0"/>
              <a:t>быть </a:t>
            </a:r>
            <a:r>
              <a:rPr lang="ru-RU" sz="1200" dirty="0" smtClean="0"/>
              <a:t>использованы </a:t>
            </a:r>
            <a:r>
              <a:rPr lang="ru-RU" sz="1200" dirty="0"/>
              <a:t>не только воспитателями, но и родителями.</a:t>
            </a:r>
          </a:p>
        </p:txBody>
      </p:sp>
      <p:pic>
        <p:nvPicPr>
          <p:cNvPr id="11" name="Рисунок 10" descr="C:\Users\SMaksimova\Desktop\Планирование 2021\2021 утверждено\НОВИНКИ октябрь дошколка\36230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616" y="1606233"/>
            <a:ext cx="1254125" cy="16294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 descr="C:\Users\SMaksimova\Desktop\Планирование 2021\2021 утверждено\НОВИНКИ октябрь дошколка\36229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921" y="2218636"/>
            <a:ext cx="1195705" cy="15544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 descr="C:\Users\SMaksimova\Desktop\Планирование 2021\2021 утверждено\НОВИНКИ октябрь дошколка\3623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06" y="3045531"/>
            <a:ext cx="1257935" cy="15563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1670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5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3" y="5471973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19-0040-01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19-0041-01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19-0042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84</a:t>
            </a:r>
            <a:r>
              <a:rPr lang="ru-RU" b="0" dirty="0">
                <a:solidFill>
                  <a:prstClr val="black"/>
                </a:solidFill>
                <a:latin typeface="+mn-lt"/>
                <a:sym typeface="Wingdings 2" panose="05020102010507070707" pitchFamily="18" charset="2"/>
              </a:rPr>
              <a:t>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108 1/16,  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«</a:t>
            </a:r>
            <a:r>
              <a:rPr lang="ru-RU" dirty="0" err="1"/>
              <a:t>Предшкольная</a:t>
            </a:r>
            <a:r>
              <a:rPr lang="ru-RU" dirty="0"/>
              <a:t> пора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90794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отовлюсь к школе. 5-6 лет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есты</a:t>
            </a: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отовлюсь к школе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6-7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ет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есты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узнецова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.И.,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чуров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Е.Э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073397" y="2943566"/>
            <a:ext cx="596022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Рабочая тетрадь предназначена для </a:t>
            </a:r>
            <a:r>
              <a:rPr lang="ru-RU" sz="1200" dirty="0" smtClean="0"/>
              <a:t>дошкольников. </a:t>
            </a:r>
            <a:r>
              <a:rPr lang="ru-RU" sz="1200" dirty="0"/>
              <a:t>В пособие включены разнообразные задания по обучению грамоте, математике и окружающему миру, направленные на выявление знаний детей </a:t>
            </a:r>
            <a:r>
              <a:rPr lang="ru-RU" sz="1200" dirty="0" smtClean="0"/>
              <a:t>в </a:t>
            </a:r>
            <a:r>
              <a:rPr lang="ru-RU" sz="1200" dirty="0"/>
              <a:t>соответствии с их возрастными особенностями. Разноплановые задания помогут воспитателям и заинтересованным родителям грамотно организовать диагностические процедуры с дошкольниками. </a:t>
            </a:r>
            <a:endParaRPr lang="ru-RU" sz="1200" dirty="0" smtClean="0"/>
          </a:p>
          <a:p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Детально продуманные методические рекомендации по оценке результатов тестирования позволят воспитателям и родителям компетентно определить уровень подготовки дошкольников и грамотно организовать дальнейшую работу с ними.</a:t>
            </a:r>
          </a:p>
        </p:txBody>
      </p:sp>
      <p:pic>
        <p:nvPicPr>
          <p:cNvPr id="13" name="Рисунок 12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876" y="1919486"/>
            <a:ext cx="1447309" cy="1846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70" y="2544606"/>
            <a:ext cx="1447309" cy="1846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4773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97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2913" y="5543410"/>
            <a:ext cx="3281362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 smtClean="0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311-0625-01</a:t>
            </a:r>
            <a:r>
              <a:rPr lang="ru-RU" b="0" dirty="0" smtClean="0">
                <a:latin typeface="+mn-lt"/>
              </a:rPr>
              <a:t/>
            </a:r>
            <a:br>
              <a:rPr lang="ru-RU" b="0" dirty="0" smtClean="0">
                <a:latin typeface="+mn-lt"/>
              </a:rPr>
            </a:b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60*90/8,  48 </a:t>
            </a:r>
            <a:r>
              <a:rPr lang="ru-RU" b="0" dirty="0" err="1">
                <a:solidFill>
                  <a:prstClr val="black"/>
                </a:solidFill>
                <a:latin typeface="+mn-lt"/>
              </a:rPr>
              <a:t>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, 4 краск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Серия «Суперквест для ума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73397" y="1592263"/>
            <a:ext cx="6707166" cy="90794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Большое путешествие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иколаса</a:t>
            </a:r>
          </a:p>
          <a:p>
            <a:endParaRPr lang="en-US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ша 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гапина</a:t>
            </a:r>
            <a:endParaRPr lang="ru-RU" sz="1400" b="1" dirty="0" smtClean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027089" y="2594775"/>
            <a:ext cx="5960225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Серия книг Маши </a:t>
            </a:r>
            <a:r>
              <a:rPr lang="ru-RU" sz="1200" dirty="0" err="1"/>
              <a:t>Агапиной</a:t>
            </a:r>
            <a:r>
              <a:rPr lang="ru-RU" sz="1200" dirty="0"/>
              <a:t> "Суперквест для ума" - абсолютно новый и очень современный вид нон-фикшн для детей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Во-первых, это комикс. Но не просто история в картинках, а отличный логический материал, с эмоциональными и конфликтными моментами в историях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Во-вторых, это головоломки, задания и поделки, напрямую связанные с сюжетом, и море многоразовых наклеек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В-третьих, это отличная и очень качественная детская научно-популярная литература, которая поможет дошкольнику ответить на многие вопросы и замотивирует на познание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Наконец-то </a:t>
            </a:r>
            <a:r>
              <a:rPr lang="ru-RU" sz="1200" dirty="0"/>
              <a:t>Николас отправляется в КОСМОС! Он так давно мечтал стать Космическим спасателем! Вместе с подругой Олей, ручным енотом Веником и динозавриком </a:t>
            </a:r>
            <a:r>
              <a:rPr lang="ru-RU" sz="1200" dirty="0" err="1"/>
              <a:t>Рапти</a:t>
            </a:r>
            <a:r>
              <a:rPr lang="ru-RU" sz="1200" dirty="0"/>
              <a:t> им предстоит выполнит невероятно важную миссию: вернуть 5 планет из артефакта в их планетную систему. И, конечно, подружиться с симпатичными инопланетянами.</a:t>
            </a:r>
          </a:p>
        </p:txBody>
      </p:sp>
      <p:pic>
        <p:nvPicPr>
          <p:cNvPr id="11" name="Рисунок 10" descr="Y:\Мои файлы\Kosmos-cover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3" y="1585239"/>
            <a:ext cx="2665412" cy="34030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587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51</TotalTime>
  <Words>1150</Words>
  <Application>Microsoft Office PowerPoint</Application>
  <PresentationFormat>Широкоэкранный</PresentationFormat>
  <Paragraphs>112</Paragraphs>
  <Slides>11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1" baseType="lpstr">
      <vt:lpstr>Arial</vt:lpstr>
      <vt:lpstr>Calibri</vt:lpstr>
      <vt:lpstr>Calibri Light</vt:lpstr>
      <vt:lpstr>Open Sans</vt:lpstr>
      <vt:lpstr>Open Sans Extrabold</vt:lpstr>
      <vt:lpstr>Open Sans Light</vt:lpstr>
      <vt:lpstr>Wingdings 2</vt:lpstr>
      <vt:lpstr>Тема Office</vt:lpstr>
      <vt:lpstr>5_Тема Office</vt:lpstr>
      <vt:lpstr>Слайд think-cell</vt:lpstr>
      <vt:lpstr>НОВИНКИ ОКТЯБРЯ 2021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Полуэктова Оксана Сергеевна</cp:lastModifiedBy>
  <cp:revision>1233</cp:revision>
  <cp:lastPrinted>2021-03-09T13:01:30Z</cp:lastPrinted>
  <dcterms:created xsi:type="dcterms:W3CDTF">2018-07-24T05:59:49Z</dcterms:created>
  <dcterms:modified xsi:type="dcterms:W3CDTF">2021-08-03T10:22:09Z</dcterms:modified>
</cp:coreProperties>
</file>